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60FE79-18EE-4A77-929D-368F989C4872}" v="50" dt="2023-03-18T00:10:02.26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2" d="100"/>
          <a:sy n="112" d="100"/>
        </p:scale>
        <p:origin x="138" y="34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2660FE79-18EE-4A77-929D-368F989C4872}"/>
    <pc:docChg chg="custSel modSld">
      <pc:chgData name="Roberto Gallardo" userId="49a044883f185952" providerId="LiveId" clId="{2660FE79-18EE-4A77-929D-368F989C4872}" dt="2023-03-18T00:10:17.692" v="200" actId="1076"/>
      <pc:docMkLst>
        <pc:docMk/>
      </pc:docMkLst>
      <pc:sldChg chg="addSp modSp mod">
        <pc:chgData name="Roberto Gallardo" userId="49a044883f185952" providerId="LiveId" clId="{2660FE79-18EE-4A77-929D-368F989C4872}" dt="2023-03-18T00:03:56.124" v="6" actId="1076"/>
        <pc:sldMkLst>
          <pc:docMk/>
          <pc:sldMk cId="1418533539" sldId="271"/>
        </pc:sldMkLst>
        <pc:picChg chg="add mod">
          <ac:chgData name="Roberto Gallardo" userId="49a044883f185952" providerId="LiveId" clId="{2660FE79-18EE-4A77-929D-368F989C4872}" dt="2023-03-18T00:03:56.124" v="6" actId="1076"/>
          <ac:picMkLst>
            <pc:docMk/>
            <pc:sldMk cId="1418533539" sldId="271"/>
            <ac:picMk id="6" creationId="{FB34B385-8DD5-4CB4-F9FA-E6AF785CD0DA}"/>
          </ac:picMkLst>
        </pc:picChg>
      </pc:sldChg>
      <pc:sldChg chg="addSp modSp mod">
        <pc:chgData name="Roberto Gallardo" userId="49a044883f185952" providerId="LiveId" clId="{2660FE79-18EE-4A77-929D-368F989C4872}" dt="2023-03-18T00:06:47.732" v="68" actId="1076"/>
        <pc:sldMkLst>
          <pc:docMk/>
          <pc:sldMk cId="2124848710" sldId="281"/>
        </pc:sldMkLst>
        <pc:picChg chg="add mod">
          <ac:chgData name="Roberto Gallardo" userId="49a044883f185952" providerId="LiveId" clId="{2660FE79-18EE-4A77-929D-368F989C4872}" dt="2023-03-18T00:06:47.732" v="68" actId="1076"/>
          <ac:picMkLst>
            <pc:docMk/>
            <pc:sldMk cId="2124848710" sldId="281"/>
            <ac:picMk id="6" creationId="{C04B9444-DA3E-B2AB-FDCE-C34477E29F97}"/>
          </ac:picMkLst>
        </pc:picChg>
      </pc:sldChg>
      <pc:sldChg chg="addSp modSp mod">
        <pc:chgData name="Roberto Gallardo" userId="49a044883f185952" providerId="LiveId" clId="{2660FE79-18EE-4A77-929D-368F989C4872}" dt="2023-03-18T00:07:03.011" v="79" actId="1076"/>
        <pc:sldMkLst>
          <pc:docMk/>
          <pc:sldMk cId="2028175529" sldId="282"/>
        </pc:sldMkLst>
        <pc:picChg chg="add mod">
          <ac:chgData name="Roberto Gallardo" userId="49a044883f185952" providerId="LiveId" clId="{2660FE79-18EE-4A77-929D-368F989C4872}" dt="2023-03-18T00:07:03.011" v="79" actId="1076"/>
          <ac:picMkLst>
            <pc:docMk/>
            <pc:sldMk cId="2028175529" sldId="282"/>
            <ac:picMk id="7" creationId="{CC4BFCF4-0972-CCB3-F9F9-847D658D2544}"/>
          </ac:picMkLst>
        </pc:picChg>
      </pc:sldChg>
      <pc:sldChg chg="addSp modSp mod">
        <pc:chgData name="Roberto Gallardo" userId="49a044883f185952" providerId="LiveId" clId="{2660FE79-18EE-4A77-929D-368F989C4872}" dt="2023-03-18T00:07:16.772" v="89" actId="1076"/>
        <pc:sldMkLst>
          <pc:docMk/>
          <pc:sldMk cId="1326517747" sldId="283"/>
        </pc:sldMkLst>
        <pc:picChg chg="add mod">
          <ac:chgData name="Roberto Gallardo" userId="49a044883f185952" providerId="LiveId" clId="{2660FE79-18EE-4A77-929D-368F989C4872}" dt="2023-03-18T00:07:16.772" v="89" actId="1076"/>
          <ac:picMkLst>
            <pc:docMk/>
            <pc:sldMk cId="1326517747" sldId="283"/>
            <ac:picMk id="7" creationId="{40A561B5-D540-01DF-0D37-98A7069386C8}"/>
          </ac:picMkLst>
        </pc:picChg>
      </pc:sldChg>
      <pc:sldChg chg="addSp modSp mod">
        <pc:chgData name="Roberto Gallardo" userId="49a044883f185952" providerId="LiveId" clId="{2660FE79-18EE-4A77-929D-368F989C4872}" dt="2023-03-18T00:07:33.076" v="99" actId="1076"/>
        <pc:sldMkLst>
          <pc:docMk/>
          <pc:sldMk cId="783739251" sldId="284"/>
        </pc:sldMkLst>
        <pc:picChg chg="add mod">
          <ac:chgData name="Roberto Gallardo" userId="49a044883f185952" providerId="LiveId" clId="{2660FE79-18EE-4A77-929D-368F989C4872}" dt="2023-03-18T00:07:33.076" v="99" actId="1076"/>
          <ac:picMkLst>
            <pc:docMk/>
            <pc:sldMk cId="783739251" sldId="284"/>
            <ac:picMk id="7" creationId="{ADC59768-129F-DC2F-CB31-2894493CCC53}"/>
          </ac:picMkLst>
        </pc:picChg>
      </pc:sldChg>
      <pc:sldChg chg="addSp modSp mod">
        <pc:chgData name="Roberto Gallardo" userId="49a044883f185952" providerId="LiveId" clId="{2660FE79-18EE-4A77-929D-368F989C4872}" dt="2023-03-18T00:07:51.764" v="110" actId="1076"/>
        <pc:sldMkLst>
          <pc:docMk/>
          <pc:sldMk cId="1676122233" sldId="285"/>
        </pc:sldMkLst>
        <pc:picChg chg="add mod">
          <ac:chgData name="Roberto Gallardo" userId="49a044883f185952" providerId="LiveId" clId="{2660FE79-18EE-4A77-929D-368F989C4872}" dt="2023-03-18T00:07:51.764" v="110" actId="1076"/>
          <ac:picMkLst>
            <pc:docMk/>
            <pc:sldMk cId="1676122233" sldId="285"/>
            <ac:picMk id="7" creationId="{5D4DD87B-F1E4-1863-66DB-5682BD2B67ED}"/>
          </ac:picMkLst>
        </pc:picChg>
      </pc:sldChg>
      <pc:sldChg chg="addSp modSp mod">
        <pc:chgData name="Roberto Gallardo" userId="49a044883f185952" providerId="LiveId" clId="{2660FE79-18EE-4A77-929D-368F989C4872}" dt="2023-03-18T00:08:07.508" v="119" actId="1076"/>
        <pc:sldMkLst>
          <pc:docMk/>
          <pc:sldMk cId="3100398757" sldId="286"/>
        </pc:sldMkLst>
        <pc:picChg chg="add mod">
          <ac:chgData name="Roberto Gallardo" userId="49a044883f185952" providerId="LiveId" clId="{2660FE79-18EE-4A77-929D-368F989C4872}" dt="2023-03-18T00:08:07.508" v="119" actId="1076"/>
          <ac:picMkLst>
            <pc:docMk/>
            <pc:sldMk cId="3100398757" sldId="286"/>
            <ac:picMk id="7" creationId="{369376EC-480F-46F5-E55F-DDE572ED5AC3}"/>
          </ac:picMkLst>
        </pc:picChg>
      </pc:sldChg>
      <pc:sldChg chg="addSp modSp mod">
        <pc:chgData name="Roberto Gallardo" userId="49a044883f185952" providerId="LiveId" clId="{2660FE79-18EE-4A77-929D-368F989C4872}" dt="2023-03-18T00:08:25.879" v="131" actId="1076"/>
        <pc:sldMkLst>
          <pc:docMk/>
          <pc:sldMk cId="1546475425" sldId="287"/>
        </pc:sldMkLst>
        <pc:picChg chg="add mod">
          <ac:chgData name="Roberto Gallardo" userId="49a044883f185952" providerId="LiveId" clId="{2660FE79-18EE-4A77-929D-368F989C4872}" dt="2023-03-18T00:08:25.879" v="131" actId="1076"/>
          <ac:picMkLst>
            <pc:docMk/>
            <pc:sldMk cId="1546475425" sldId="287"/>
            <ac:picMk id="7" creationId="{A0A83A73-5ED1-881C-F2C8-F1CF7407C517}"/>
          </ac:picMkLst>
        </pc:picChg>
      </pc:sldChg>
      <pc:sldChg chg="addSp modSp mod">
        <pc:chgData name="Roberto Gallardo" userId="49a044883f185952" providerId="LiveId" clId="{2660FE79-18EE-4A77-929D-368F989C4872}" dt="2023-03-18T00:08:55.335" v="151" actId="1076"/>
        <pc:sldMkLst>
          <pc:docMk/>
          <pc:sldMk cId="1380517306" sldId="288"/>
        </pc:sldMkLst>
        <pc:picChg chg="add mod">
          <ac:chgData name="Roberto Gallardo" userId="49a044883f185952" providerId="LiveId" clId="{2660FE79-18EE-4A77-929D-368F989C4872}" dt="2023-03-18T00:08:55.335" v="151" actId="1076"/>
          <ac:picMkLst>
            <pc:docMk/>
            <pc:sldMk cId="1380517306" sldId="288"/>
            <ac:picMk id="7" creationId="{A58A2A51-AF6D-E0D4-4984-BC7BF746C95A}"/>
          </ac:picMkLst>
        </pc:picChg>
      </pc:sldChg>
      <pc:sldChg chg="addSp modSp mod">
        <pc:chgData name="Roberto Gallardo" userId="49a044883f185952" providerId="LiveId" clId="{2660FE79-18EE-4A77-929D-368F989C4872}" dt="2023-03-18T00:09:17.983" v="165" actId="1076"/>
        <pc:sldMkLst>
          <pc:docMk/>
          <pc:sldMk cId="1388671151" sldId="289"/>
        </pc:sldMkLst>
        <pc:picChg chg="add mod">
          <ac:chgData name="Roberto Gallardo" userId="49a044883f185952" providerId="LiveId" clId="{2660FE79-18EE-4A77-929D-368F989C4872}" dt="2023-03-18T00:09:17.983" v="165" actId="1076"/>
          <ac:picMkLst>
            <pc:docMk/>
            <pc:sldMk cId="1388671151" sldId="289"/>
            <ac:picMk id="7" creationId="{ADC47768-1E69-8475-124A-D24EDA9681F1}"/>
          </ac:picMkLst>
        </pc:picChg>
      </pc:sldChg>
      <pc:sldChg chg="addSp modSp mod">
        <pc:chgData name="Roberto Gallardo" userId="49a044883f185952" providerId="LiveId" clId="{2660FE79-18EE-4A77-929D-368F989C4872}" dt="2023-03-18T00:09:55.543" v="187" actId="1076"/>
        <pc:sldMkLst>
          <pc:docMk/>
          <pc:sldMk cId="2355376039" sldId="290"/>
        </pc:sldMkLst>
        <pc:picChg chg="add mod">
          <ac:chgData name="Roberto Gallardo" userId="49a044883f185952" providerId="LiveId" clId="{2660FE79-18EE-4A77-929D-368F989C4872}" dt="2023-03-18T00:09:55.543" v="187" actId="1076"/>
          <ac:picMkLst>
            <pc:docMk/>
            <pc:sldMk cId="2355376039" sldId="290"/>
            <ac:picMk id="8" creationId="{5B916494-78A9-D37A-E8CC-88A34922D5C0}"/>
          </ac:picMkLst>
        </pc:picChg>
      </pc:sldChg>
      <pc:sldChg chg="addSp modSp mod">
        <pc:chgData name="Roberto Gallardo" userId="49a044883f185952" providerId="LiveId" clId="{2660FE79-18EE-4A77-929D-368F989C4872}" dt="2023-03-18T00:10:17.692" v="200" actId="1076"/>
        <pc:sldMkLst>
          <pc:docMk/>
          <pc:sldMk cId="3757257295" sldId="291"/>
        </pc:sldMkLst>
        <pc:picChg chg="add mod">
          <ac:chgData name="Roberto Gallardo" userId="49a044883f185952" providerId="LiveId" clId="{2660FE79-18EE-4A77-929D-368F989C4872}" dt="2023-03-18T00:10:17.692" v="200" actId="1076"/>
          <ac:picMkLst>
            <pc:docMk/>
            <pc:sldMk cId="3757257295" sldId="291"/>
            <ac:picMk id="8" creationId="{CF1A4461-4DB1-4754-1F62-0FECEB22B570}"/>
          </ac:picMkLst>
        </pc:picChg>
      </pc:sldChg>
      <pc:sldChg chg="addSp modSp mod">
        <pc:chgData name="Roberto Gallardo" userId="49a044883f185952" providerId="LiveId" clId="{2660FE79-18EE-4A77-929D-368F989C4872}" dt="2023-03-18T00:08:40.423" v="140" actId="1076"/>
        <pc:sldMkLst>
          <pc:docMk/>
          <pc:sldMk cId="1259856727" sldId="292"/>
        </pc:sldMkLst>
        <pc:picChg chg="add mod">
          <ac:chgData name="Roberto Gallardo" userId="49a044883f185952" providerId="LiveId" clId="{2660FE79-18EE-4A77-929D-368F989C4872}" dt="2023-03-18T00:08:40.423" v="140" actId="1076"/>
          <ac:picMkLst>
            <pc:docMk/>
            <pc:sldMk cId="1259856727" sldId="292"/>
            <ac:picMk id="7" creationId="{C0E5AF5F-08D7-C5C8-D72D-FFDD9D88B13D}"/>
          </ac:picMkLst>
        </pc:picChg>
      </pc:sldChg>
      <pc:sldChg chg="addSp modSp mod">
        <pc:chgData name="Roberto Gallardo" userId="49a044883f185952" providerId="LiveId" clId="{2660FE79-18EE-4A77-929D-368F989C4872}" dt="2023-03-18T00:06:34.519" v="58" actId="1076"/>
        <pc:sldMkLst>
          <pc:docMk/>
          <pc:sldMk cId="3324519687" sldId="293"/>
        </pc:sldMkLst>
        <pc:picChg chg="add mod">
          <ac:chgData name="Roberto Gallardo" userId="49a044883f185952" providerId="LiveId" clId="{2660FE79-18EE-4A77-929D-368F989C4872}" dt="2023-03-18T00:06:34.519" v="58" actId="1076"/>
          <ac:picMkLst>
            <pc:docMk/>
            <pc:sldMk cId="3324519687" sldId="293"/>
            <ac:picMk id="7" creationId="{A1202BCA-3565-57C3-5CD5-6236448700D8}"/>
          </ac:picMkLst>
        </pc:picChg>
      </pc:sldChg>
      <pc:sldChg chg="addSp modSp mod">
        <pc:chgData name="Roberto Gallardo" userId="49a044883f185952" providerId="LiveId" clId="{2660FE79-18EE-4A77-929D-368F989C4872}" dt="2023-03-18T00:06:02.680" v="39" actId="1076"/>
        <pc:sldMkLst>
          <pc:docMk/>
          <pc:sldMk cId="3256182630" sldId="295"/>
        </pc:sldMkLst>
        <pc:picChg chg="add mod">
          <ac:chgData name="Roberto Gallardo" userId="49a044883f185952" providerId="LiveId" clId="{2660FE79-18EE-4A77-929D-368F989C4872}" dt="2023-03-18T00:06:02.680" v="39" actId="1076"/>
          <ac:picMkLst>
            <pc:docMk/>
            <pc:sldMk cId="3256182630" sldId="295"/>
            <ac:picMk id="7" creationId="{210C969B-91A5-5B67-4C86-3F95893E13E8}"/>
          </ac:picMkLst>
        </pc:picChg>
      </pc:sldChg>
      <pc:sldChg chg="addSp modSp mod">
        <pc:chgData name="Roberto Gallardo" userId="49a044883f185952" providerId="LiveId" clId="{2660FE79-18EE-4A77-929D-368F989C4872}" dt="2023-03-18T00:06:17.296" v="47" actId="1076"/>
        <pc:sldMkLst>
          <pc:docMk/>
          <pc:sldMk cId="4057156843" sldId="296"/>
        </pc:sldMkLst>
        <pc:picChg chg="add mod">
          <ac:chgData name="Roberto Gallardo" userId="49a044883f185952" providerId="LiveId" clId="{2660FE79-18EE-4A77-929D-368F989C4872}" dt="2023-03-18T00:06:17.296" v="47" actId="1076"/>
          <ac:picMkLst>
            <pc:docMk/>
            <pc:sldMk cId="4057156843" sldId="296"/>
            <ac:picMk id="7" creationId="{A5D8804B-A8C5-1ECB-EE26-F8616F1623D5}"/>
          </ac:picMkLst>
        </pc:picChg>
      </pc:sldChg>
      <pc:sldChg chg="addSp modSp mod">
        <pc:chgData name="Roberto Gallardo" userId="49a044883f185952" providerId="LiveId" clId="{2660FE79-18EE-4A77-929D-368F989C4872}" dt="2023-03-18T00:05:45.468" v="30" actId="1036"/>
        <pc:sldMkLst>
          <pc:docMk/>
          <pc:sldMk cId="2080110827" sldId="297"/>
        </pc:sldMkLst>
        <pc:picChg chg="add mod">
          <ac:chgData name="Roberto Gallardo" userId="49a044883f185952" providerId="LiveId" clId="{2660FE79-18EE-4A77-929D-368F989C4872}" dt="2023-03-18T00:05:45.468" v="30" actId="1036"/>
          <ac:picMkLst>
            <pc:docMk/>
            <pc:sldMk cId="2080110827" sldId="297"/>
            <ac:picMk id="6" creationId="{2D3C56E1-0150-AB44-8605-101EC7188B44}"/>
          </ac:picMkLst>
        </pc:picChg>
      </pc:sldChg>
      <pc:sldChg chg="addSp delSp modSp mod">
        <pc:chgData name="Roberto Gallardo" userId="49a044883f185952" providerId="LiveId" clId="{2660FE79-18EE-4A77-929D-368F989C4872}" dt="2023-03-18T00:05:40.847" v="29" actId="1076"/>
        <pc:sldMkLst>
          <pc:docMk/>
          <pc:sldMk cId="1532666867" sldId="298"/>
        </pc:sldMkLst>
        <pc:picChg chg="add del mod">
          <ac:chgData name="Roberto Gallardo" userId="49a044883f185952" providerId="LiveId" clId="{2660FE79-18EE-4A77-929D-368F989C4872}" dt="2023-03-18T00:05:23.390" v="22" actId="478"/>
          <ac:picMkLst>
            <pc:docMk/>
            <pc:sldMk cId="1532666867" sldId="298"/>
            <ac:picMk id="6" creationId="{40B9CEEF-AD44-A519-C30D-043CA229560B}"/>
          </ac:picMkLst>
        </pc:picChg>
        <pc:picChg chg="add mod">
          <ac:chgData name="Roberto Gallardo" userId="49a044883f185952" providerId="LiveId" clId="{2660FE79-18EE-4A77-929D-368F989C4872}" dt="2023-03-18T00:05:40.847" v="29" actId="1076"/>
          <ac:picMkLst>
            <pc:docMk/>
            <pc:sldMk cId="1532666867" sldId="298"/>
            <ac:picMk id="8" creationId="{E1AA572B-9846-2531-B110-DDDBA191A76F}"/>
          </ac:picMkLst>
        </pc:picChg>
      </pc:sldChg>
      <pc:sldChg chg="addSp modSp mod">
        <pc:chgData name="Roberto Gallardo" userId="49a044883f185952" providerId="LiveId" clId="{2660FE79-18EE-4A77-929D-368F989C4872}" dt="2023-03-18T00:09:30.993" v="174" actId="1076"/>
        <pc:sldMkLst>
          <pc:docMk/>
          <pc:sldMk cId="1951376777" sldId="299"/>
        </pc:sldMkLst>
        <pc:picChg chg="add mod">
          <ac:chgData name="Roberto Gallardo" userId="49a044883f185952" providerId="LiveId" clId="{2660FE79-18EE-4A77-929D-368F989C4872}" dt="2023-03-18T00:09:30.993" v="174" actId="1076"/>
          <ac:picMkLst>
            <pc:docMk/>
            <pc:sldMk cId="1951376777" sldId="299"/>
            <ac:picMk id="7" creationId="{70126AEC-4DCF-DF36-B4A4-FE2E1D2DDEDF}"/>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a:solidFill>
                  <a:schemeClr val="bg1"/>
                </a:solidFill>
              </a:rPr>
              <a:t>Caldwell </a:t>
            </a:r>
            <a:r>
              <a:rPr lang="en-US" sz="4000" dirty="0">
                <a:solidFill>
                  <a:schemeClr val="bg1"/>
                </a:solidFill>
              </a:rPr>
              <a:t>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A911B87-E6E6-E9B8-F18F-83D1F0BA8FB1}"/>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15E5CB75-71FD-77E1-5925-9EB1F002DB14}"/>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FB34B385-8DD5-4CB4-F9FA-E6AF785CD0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8" name="Picture 7" descr="Map&#10;&#10;Description automatically generated">
            <a:extLst>
              <a:ext uri="{FF2B5EF4-FFF2-40B4-BE49-F238E27FC236}">
                <a16:creationId xmlns:a16="http://schemas.microsoft.com/office/drawing/2014/main" id="{E1AA572B-9846-2531-B110-DDDBA191A7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55071"/>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2D3C56E1-0150-AB44-8605-101EC7188B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331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65687E5-0F9F-6373-A751-56FB013E0594}"/>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210C969B-91A5-5B67-4C86-3F95893E13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86F8E658-75B0-7D43-37E5-0577E764CC22}"/>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A5D8804B-A8C5-1ECB-EE26-F8616F1623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6096"/>
            <a:ext cx="6400802" cy="4526373"/>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3C7AEDC9-6825-6F31-78FC-E96DB4960FB3}"/>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A1202BCA-3565-57C3-5CD5-6236448700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1"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E397580-9E32-61A7-1B6B-6BF6B63DE794}"/>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C04B9444-DA3E-B2AB-FDCE-C34477E29F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2"/>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182EFBE-19E1-AFB4-0E44-AA19567FD6B8}"/>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CC4BFCF4-0972-CCB3-F9F9-847D658D25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1"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1F39CC0-B7C6-A588-FD88-A779605E1C40}"/>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40A561B5-D540-01DF-0D37-98A7069386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07D95AA-0660-2952-E5F9-42D827361475}"/>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ADC59768-129F-DC2F-CB31-2894493CCC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4EDE152-DC62-5CED-40C0-BB74C27AAF64}"/>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5D4DD87B-F1E4-1863-66DB-5682BD2B67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389"/>
            <a:ext cx="6400800" cy="4526372"/>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9CE941E-F24D-1331-746A-B6FF5909E5DA}"/>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369376EC-480F-46F5-E55F-DDE572ED5A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534FC4D-BAFD-590A-C2FE-B1C7BE51DAAA}"/>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A0A83A73-5ED1-881C-F2C8-F1CF7407C5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477E3CA-CA35-4F82-FD19-1DC7C01C22A0}"/>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C0E5AF5F-08D7-C5C8-D72D-FFDD9D88B1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6945" y="1419454"/>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81FAF89-F242-0FB2-E2F4-70C74DB4CB7B}"/>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A58A2A51-AF6D-E0D4-4984-BC7BF746C9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6FF8465-7651-F53B-BEC3-6561AE3B2F2A}"/>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ADC47768-1E69-8475-124A-D24EDA9681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29FD4648-7F74-C5EB-5252-F3C505BD35AF}"/>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70126AEC-4DCF-DF36-B4A4-FE2E1D2DDE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4B3D08A2-8028-A87A-8CB7-B55B0A45171D}"/>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5B916494-78A9-D37A-E8CC-88A34922D5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811" y="1416754"/>
            <a:ext cx="6396789" cy="4523534"/>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5A684D85-1CC8-772D-B4A2-2F835EAA5C6D}"/>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635C31EF-DCF0-914F-B828-B6600D64BEB1}"/>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CF1A4461-4DB1-4754-1F62-0FECEB22B5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7758" y="1415542"/>
            <a:ext cx="6391842" cy="4520037"/>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84346715-3728-76C8-F3F2-4A1C118A55C5}"/>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9499F22-8688-830C-848F-48EEAC47CE76}"/>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3420367-2B16-3DA8-0A5C-54AA15519C96}"/>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50024"/>
            <a:ext cx="1198148" cy="2573683"/>
            <a:chOff x="2775759" y="1918327"/>
            <a:chExt cx="1198148" cy="2573683"/>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77670"/>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1832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18327"/>
              <a:ext cx="0" cy="8593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70222"/>
              <a:ext cx="0" cy="82178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709770" y="2609367"/>
            <a:ext cx="1198148" cy="2240293"/>
            <a:chOff x="10485745" y="1974207"/>
            <a:chExt cx="1198148" cy="224029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267523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3</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1424" y="42145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198065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1974207"/>
              <a:ext cx="0" cy="70102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567785"/>
              <a:ext cx="0" cy="64671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3415"/>
            <a:ext cx="1198148" cy="2256465"/>
            <a:chOff x="2775759" y="2235545"/>
            <a:chExt cx="1198148" cy="2256465"/>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043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3554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35545"/>
              <a:ext cx="0" cy="68489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805498" y="2650006"/>
            <a:ext cx="1198148" cy="2164568"/>
            <a:chOff x="2775759" y="2380239"/>
            <a:chExt cx="1198148" cy="2164568"/>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02304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5</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3912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380239"/>
              <a:ext cx="0" cy="64280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915593"/>
              <a:ext cx="0" cy="6292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CA76570E-4882-CBB8-6EFA-564A063E0BF0}"/>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2901363D-8D8A-CDA6-03BA-1B706AE26DC6}"/>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AA9854A-C920-58C8-50B7-7BF8066719C3}"/>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DFFD976E-21E0-FEA9-9C06-11DD9A239643}"/>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FED6A49-51CE-AF25-CC53-5DA2B402735F}"/>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E1BF46C-264E-7546-F64F-E6AA9C5ADC4C}"/>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F3D48EA-D9E9-CFA2-E204-8C2A0FA4FB3E}"/>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19C3174A-1753-D8C0-F4EB-FC0B7AA72701}"/>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04</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92</cp:revision>
  <dcterms:created xsi:type="dcterms:W3CDTF">2022-07-04T13:32:28Z</dcterms:created>
  <dcterms:modified xsi:type="dcterms:W3CDTF">2023-03-18T00:10:22Z</dcterms:modified>
</cp:coreProperties>
</file>